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5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1"/>
    <p:sldMasterId id="2147483687" r:id="rId2"/>
    <p:sldMasterId id="2147483943" r:id="rId3"/>
    <p:sldMasterId id="2147484013" r:id="rId4"/>
    <p:sldMasterId id="2147484063" r:id="rId5"/>
    <p:sldMasterId id="2147484089" r:id="rId6"/>
  </p:sldMasterIdLst>
  <p:notesMasterIdLst>
    <p:notesMasterId r:id="rId15"/>
  </p:notesMasterIdLst>
  <p:handoutMasterIdLst>
    <p:handoutMasterId r:id="rId16"/>
  </p:handoutMasterIdLst>
  <p:sldIdLst>
    <p:sldId id="349" r:id="rId7"/>
    <p:sldId id="846" r:id="rId8"/>
    <p:sldId id="841" r:id="rId9"/>
    <p:sldId id="844" r:id="rId10"/>
    <p:sldId id="845" r:id="rId11"/>
    <p:sldId id="821" r:id="rId12"/>
    <p:sldId id="847" r:id="rId13"/>
    <p:sldId id="842" r:id="rId14"/>
  </p:sldIdLst>
  <p:sldSz cx="9144000" cy="6858000" type="screen4x3"/>
  <p:notesSz cx="7010400" cy="9296400"/>
  <p:defaultTextStyle>
    <a:defPPr>
      <a:defRPr lang="id-ID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536951E3-1C49-4692-B08C-7B5A92A07B13}">
          <p14:sldIdLst>
            <p14:sldId id="349"/>
            <p14:sldId id="846"/>
            <p14:sldId id="841"/>
            <p14:sldId id="844"/>
            <p14:sldId id="845"/>
            <p14:sldId id="821"/>
            <p14:sldId id="847"/>
            <p14:sldId id="842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FF0000"/>
    <a:srgbClr val="33CC33"/>
    <a:srgbClr val="CCFFCC"/>
    <a:srgbClr val="CC0000"/>
    <a:srgbClr val="FF6600"/>
    <a:srgbClr val="CC6600"/>
    <a:srgbClr val="FF9933"/>
    <a:srgbClr val="D2D713"/>
    <a:srgbClr val="00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395" autoAdjust="0"/>
    <p:restoredTop sz="91119" autoAdjust="0"/>
  </p:normalViewPr>
  <p:slideViewPr>
    <p:cSldViewPr snapToGrid="0">
      <p:cViewPr>
        <p:scale>
          <a:sx n="70" d="100"/>
          <a:sy n="70" d="100"/>
        </p:scale>
        <p:origin x="-1218" y="1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0"/>
            <a:ext cx="3038475" cy="465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3269" tIns="46636" rIns="93269" bIns="46636" numCol="1" anchor="t" anchorCtr="0" compatLnSpc="1">
            <a:prstTxWarp prst="textNoShape">
              <a:avLst/>
            </a:prstTxWarp>
          </a:bodyPr>
          <a:lstStyle>
            <a:lvl1pPr defTabSz="933347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90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68753" y="0"/>
            <a:ext cx="3040063" cy="465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3269" tIns="46636" rIns="93269" bIns="46636" numCol="1" anchor="t" anchorCtr="0" compatLnSpc="1">
            <a:prstTxWarp prst="textNoShape">
              <a:avLst/>
            </a:prstTxWarp>
          </a:bodyPr>
          <a:lstStyle>
            <a:lvl1pPr algn="r" defTabSz="933347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0CB26A9-C2FB-4368-A8D7-F4CCD18810D0}" type="datetimeFigureOut">
              <a:rPr lang="en-US"/>
              <a:pPr>
                <a:defRPr/>
              </a:pPr>
              <a:t>10/31/2014</a:t>
            </a:fld>
            <a:endParaRPr lang="en-US"/>
          </a:p>
        </p:txBody>
      </p:sp>
      <p:sp>
        <p:nvSpPr>
          <p:cNvPr id="1290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8829674"/>
            <a:ext cx="3038475" cy="465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3269" tIns="46636" rIns="93269" bIns="46636" numCol="1" anchor="b" anchorCtr="0" compatLnSpc="1">
            <a:prstTxWarp prst="textNoShape">
              <a:avLst/>
            </a:prstTxWarp>
          </a:bodyPr>
          <a:lstStyle>
            <a:lvl1pPr defTabSz="933347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90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68753" y="8829674"/>
            <a:ext cx="3040063" cy="465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3269" tIns="46636" rIns="93269" bIns="46636" numCol="1" anchor="b" anchorCtr="0" compatLnSpc="1">
            <a:prstTxWarp prst="textNoShape">
              <a:avLst/>
            </a:prstTxWarp>
          </a:bodyPr>
          <a:lstStyle>
            <a:lvl1pPr algn="r" defTabSz="933347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631E75DD-09A1-46E3-8969-C740172CAF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57913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2" y="0"/>
            <a:ext cx="3038475" cy="465138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3269" tIns="46636" rIns="93269" bIns="46636" numCol="1" anchor="t" anchorCtr="0" compatLnSpc="1">
            <a:prstTxWarp prst="textNoShape">
              <a:avLst/>
            </a:prstTxWarp>
          </a:bodyPr>
          <a:lstStyle>
            <a:lvl1pPr defTabSz="933347">
              <a:defRPr sz="120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968753" y="0"/>
            <a:ext cx="3040063" cy="465138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3269" tIns="46636" rIns="93269" bIns="46636" numCol="1" anchor="t" anchorCtr="0" compatLnSpc="1">
            <a:prstTxWarp prst="textNoShape">
              <a:avLst/>
            </a:prstTxWarp>
          </a:bodyPr>
          <a:lstStyle>
            <a:lvl1pPr algn="r" defTabSz="933347">
              <a:defRPr sz="120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C4323DB8-4339-48B3-8EF6-C3C73C13AC0D}" type="datetimeFigureOut">
              <a:rPr lang="id-ID"/>
              <a:pPr>
                <a:defRPr/>
              </a:pPr>
              <a:t>31/10/2014</a:t>
            </a:fld>
            <a:endParaRPr lang="id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51375" cy="34877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0" tIns="45716" rIns="91430" bIns="45716" rtlCol="0" anchor="ctr"/>
          <a:lstStyle/>
          <a:p>
            <a:pPr lvl="0"/>
            <a:endParaRPr lang="id-ID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703265" y="4418017"/>
            <a:ext cx="5603875" cy="418147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3269" tIns="46636" rIns="93269" bIns="4663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id-ID" noProof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2" y="8829674"/>
            <a:ext cx="3038475" cy="465138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3269" tIns="46636" rIns="93269" bIns="46636" numCol="1" anchor="b" anchorCtr="0" compatLnSpc="1">
            <a:prstTxWarp prst="textNoShape">
              <a:avLst/>
            </a:prstTxWarp>
          </a:bodyPr>
          <a:lstStyle>
            <a:lvl1pPr defTabSz="933347">
              <a:defRPr sz="120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968753" y="8829674"/>
            <a:ext cx="3040063" cy="465138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3269" tIns="46636" rIns="93269" bIns="46636" numCol="1" anchor="b" anchorCtr="0" compatLnSpc="1">
            <a:prstTxWarp prst="textNoShape">
              <a:avLst/>
            </a:prstTxWarp>
          </a:bodyPr>
          <a:lstStyle>
            <a:lvl1pPr algn="r" defTabSz="933347">
              <a:defRPr sz="120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77B557A8-E0EC-4681-9F41-1ABBDECF15B5}" type="slidenum">
              <a:rPr lang="id-ID"/>
              <a:pPr>
                <a:defRPr/>
              </a:pPr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8498925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ER_PowerPoint_ol [Converted]"/>
          <p:cNvPicPr preferRelativeResize="0">
            <a:picLocks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9850"/>
            <a:ext cx="9144000" cy="692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131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4131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mtClean="0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56632692"/>
      </p:ext>
    </p:extLst>
  </p:cSld>
  <p:clrMapOvr>
    <a:masterClrMapping/>
  </p:clrMapOvr>
  <p:transition>
    <p:fade thruBlk="1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4D230E-16E7-4BEF-84CD-EFB601A9B14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7044887"/>
      </p:ext>
    </p:extLst>
  </p:cSld>
  <p:clrMapOvr>
    <a:masterClrMapping/>
  </p:clrMapOvr>
  <p:transition>
    <p:fade thruBlk="1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30008" y="401697"/>
            <a:ext cx="2057197" cy="587967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6795" y="401697"/>
            <a:ext cx="6017708" cy="587967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109BB5-0B00-4535-9FF2-DF5399396AF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8768160"/>
      </p:ext>
    </p:extLst>
  </p:cSld>
  <p:clrMapOvr>
    <a:masterClrMapping/>
  </p:clrMapOvr>
  <p:transition>
    <p:fade thruBlk="1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44538"/>
            <a:ext cx="8229600" cy="56038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731963"/>
            <a:ext cx="8229600" cy="454977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FC50C9-0671-470F-99FB-17457DE43AA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5812610"/>
      </p:ext>
    </p:extLst>
  </p:cSld>
  <p:clrMapOvr>
    <a:masterClrMapping/>
  </p:clrMapOvr>
  <p:transition>
    <p:fade thruBlk="1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D14957-0DF2-44DC-B4EF-1A0F4EB4FB1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63062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9035F0-9A1B-46F2-B154-263A0056AE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76716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392150-91F0-4E13-9EE7-D98ABCC6016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68306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AF7817-17F7-443F-9C43-455373C82BD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1307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60903E-0EBC-4C41-9E46-0F6700AE22D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13024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DDB0B8-385B-4B4B-AF20-6FD45AD500A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02228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C12092-787B-41D9-80FA-026EDBC2E2C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6999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7F980F-0A06-4FCB-B782-3914622C6E8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8090216"/>
      </p:ext>
    </p:extLst>
  </p:cSld>
  <p:clrMapOvr>
    <a:masterClrMapping/>
  </p:clrMapOvr>
  <p:transition>
    <p:fade thruBlk="1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FB21C3-5E81-4B17-8DBD-B339D4F37CF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48859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E7388D-D7E3-4B92-A56D-0E932ED9862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1068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CD95BE-170F-4B12-8E9E-1C58CEBA59B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55596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F619C9-7D67-4EA8-A6B5-B892523A284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89546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Atas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003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5589588"/>
            <a:ext cx="2200275" cy="847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6"/>
          <p:cNvSpPr>
            <a:spLocks noChangeArrowheads="1"/>
          </p:cNvSpPr>
          <p:nvPr userDrawn="1"/>
        </p:nvSpPr>
        <p:spPr bwMode="auto">
          <a:xfrm>
            <a:off x="381000" y="5105400"/>
            <a:ext cx="5715000" cy="1524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Bef>
                <a:spcPct val="20000"/>
              </a:spcBef>
            </a:pPr>
            <a:endParaRPr lang="en-GB" smtClean="0">
              <a:solidFill>
                <a:srgbClr val="000000"/>
              </a:solidFill>
              <a:latin typeface="Futura Md BT" pitchFamily="34" charset="0"/>
              <a:cs typeface="Arial" pitchFamily="34" charset="0"/>
            </a:endParaRPr>
          </a:p>
        </p:txBody>
      </p:sp>
      <p:sp>
        <p:nvSpPr>
          <p:cNvPr id="48845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738188" y="381000"/>
            <a:ext cx="7772400" cy="8382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48845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33413" y="5105400"/>
            <a:ext cx="5064125" cy="1524000"/>
          </a:xfrm>
        </p:spPr>
        <p:txBody>
          <a:bodyPr/>
          <a:lstStyle>
            <a:lvl1pPr marL="0" indent="0">
              <a:buFontTx/>
              <a:buNone/>
              <a:defRPr sz="2000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6083741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3799874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969692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905000"/>
            <a:ext cx="4038600" cy="42211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05000"/>
            <a:ext cx="4038600" cy="42211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14200609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8887964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0691926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49" y="4407327"/>
            <a:ext cx="7771995" cy="1362205"/>
          </a:xfrm>
        </p:spPr>
        <p:txBody>
          <a:bodyPr/>
          <a:lstStyle>
            <a:lvl1pPr algn="l">
              <a:defRPr sz="4100" b="1" cap="all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49" y="2907443"/>
            <a:ext cx="7771995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66481" indent="0">
              <a:buNone/>
              <a:defRPr sz="1800"/>
            </a:lvl2pPr>
            <a:lvl3pPr marL="932962" indent="0">
              <a:buNone/>
              <a:defRPr sz="1600"/>
            </a:lvl3pPr>
            <a:lvl4pPr marL="1399443" indent="0">
              <a:buNone/>
              <a:defRPr sz="1400"/>
            </a:lvl4pPr>
            <a:lvl5pPr marL="1865925" indent="0">
              <a:buNone/>
              <a:defRPr sz="1400"/>
            </a:lvl5pPr>
            <a:lvl6pPr marL="2332406" indent="0">
              <a:buNone/>
              <a:defRPr sz="1400"/>
            </a:lvl6pPr>
            <a:lvl7pPr marL="2798887" indent="0">
              <a:buNone/>
              <a:defRPr sz="1400"/>
            </a:lvl7pPr>
            <a:lvl8pPr marL="3265368" indent="0">
              <a:buNone/>
              <a:defRPr sz="1400"/>
            </a:lvl8pPr>
            <a:lvl9pPr marL="3731849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C055A6-D7EE-4DAB-B706-E90BE01BECD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6449974"/>
      </p:ext>
    </p:extLst>
  </p:cSld>
  <p:clrMapOvr>
    <a:masterClrMapping/>
  </p:clrMapOvr>
  <p:transition>
    <p:fade thruBlk="1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25912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13396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d-ID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050679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3736722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8385400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0969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905000"/>
            <a:ext cx="8229600" cy="4221163"/>
          </a:xfrm>
        </p:spPr>
        <p:txBody>
          <a:bodyPr/>
          <a:lstStyle/>
          <a:p>
            <a:pPr lvl="0"/>
            <a:endParaRPr lang="id-ID" noProof="0" smtClean="0"/>
          </a:p>
        </p:txBody>
      </p:sp>
    </p:spTree>
    <p:extLst>
      <p:ext uri="{BB962C8B-B14F-4D97-AF65-F5344CB8AC3E}">
        <p14:creationId xmlns:p14="http://schemas.microsoft.com/office/powerpoint/2010/main" val="257716962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1741106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Atas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003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5589588"/>
            <a:ext cx="2200275" cy="847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557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738188" y="381000"/>
            <a:ext cx="7772400" cy="838200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3557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33413" y="5105400"/>
            <a:ext cx="5064125" cy="1524000"/>
          </a:xfrm>
        </p:spPr>
        <p:txBody>
          <a:bodyPr/>
          <a:lstStyle>
            <a:lvl1pPr marL="0" indent="0">
              <a:buFontTx/>
              <a:buNone/>
              <a:defRPr sz="2000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197929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466763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05125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6795" y="1783340"/>
            <a:ext cx="4036642" cy="4498031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942" y="1783340"/>
            <a:ext cx="4038263" cy="4498031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21AD61-71A2-4230-9B46-40238B128A3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5320839"/>
      </p:ext>
    </p:extLst>
  </p:cSld>
  <p:clrMapOvr>
    <a:masterClrMapping/>
  </p:clrMapOvr>
  <p:transition>
    <p:fade thruBlk="1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905000"/>
            <a:ext cx="4038600" cy="42211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05000"/>
            <a:ext cx="4038600" cy="42211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403579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255937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19723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144406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244929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622615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824002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81094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0060037"/>
      </p:ext>
    </p:extLst>
  </p:cSld>
  <p:clrMapOvr>
    <a:masterClrMapping/>
  </p:clrMapOvr>
  <p:transition>
    <p:fade thruBlk="1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886298"/>
      </p:ext>
    </p:extLst>
  </p:cSld>
  <p:clrMapOvr>
    <a:masterClrMapping/>
  </p:clrMapOvr>
  <p:transition>
    <p:fade thruBlk="1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275356"/>
            <a:ext cx="8230410" cy="1141921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796" y="1535519"/>
            <a:ext cx="403988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796" y="2175318"/>
            <a:ext cx="403988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3" y="1535519"/>
            <a:ext cx="404150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3" y="2175318"/>
            <a:ext cx="404150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7" name="doc id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EDECE4-E7C1-48FC-8339-268D6039D08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5525703"/>
      </p:ext>
    </p:extLst>
  </p:cSld>
  <p:clrMapOvr>
    <a:masterClrMapping/>
  </p:clrMapOvr>
  <p:transition>
    <p:fade thruBlk="1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4348068"/>
      </p:ext>
    </p:extLst>
  </p:cSld>
  <p:clrMapOvr>
    <a:masterClrMapping/>
  </p:clrMapOvr>
  <p:transition>
    <p:fade thruBlk="1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0875" y="981075"/>
            <a:ext cx="3941763" cy="51450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45038" y="981075"/>
            <a:ext cx="3941762" cy="51450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609392"/>
      </p:ext>
    </p:extLst>
  </p:cSld>
  <p:clrMapOvr>
    <a:masterClrMapping/>
  </p:clrMapOvr>
  <p:transition>
    <p:fade thruBlk="1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6404005"/>
      </p:ext>
    </p:extLst>
  </p:cSld>
  <p:clrMapOvr>
    <a:masterClrMapping/>
  </p:clrMapOvr>
  <p:transition>
    <p:fade thruBlk="1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2192708"/>
      </p:ext>
    </p:extLst>
  </p:cSld>
  <p:clrMapOvr>
    <a:masterClrMapping/>
  </p:clrMapOvr>
  <p:transition>
    <p:fade thruBlk="1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7588211"/>
      </p:ext>
    </p:extLst>
  </p:cSld>
  <p:clrMapOvr>
    <a:masterClrMapping/>
  </p:clrMapOvr>
  <p:transition>
    <p:fade thruBlk="1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3495477"/>
      </p:ext>
    </p:extLst>
  </p:cSld>
  <p:clrMapOvr>
    <a:masterClrMapping/>
  </p:clrMapOvr>
  <p:transition>
    <p:fade thruBlk="1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2412311"/>
      </p:ext>
    </p:extLst>
  </p:cSld>
  <p:clrMapOvr>
    <a:masterClrMapping/>
  </p:clrMapOvr>
  <p:transition>
    <p:fade thruBlk="1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9446359"/>
      </p:ext>
    </p:extLst>
  </p:cSld>
  <p:clrMapOvr>
    <a:masterClrMapping/>
  </p:clrMapOvr>
  <p:transition>
    <p:fade thruBlk="1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78600" y="274638"/>
            <a:ext cx="21082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2413" y="274638"/>
            <a:ext cx="6173787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6377565"/>
      </p:ext>
    </p:extLst>
  </p:cSld>
  <p:clrMapOvr>
    <a:masterClrMapping/>
  </p:clrMapOvr>
  <p:transition>
    <p:fade thruBlk="1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413" y="274638"/>
            <a:ext cx="8434387" cy="5619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650875" y="981075"/>
            <a:ext cx="8035925" cy="5145088"/>
          </a:xfrm>
        </p:spPr>
        <p:txBody>
          <a:bodyPr/>
          <a:lstStyle/>
          <a:p>
            <a:pPr lvl="0"/>
            <a:endParaRPr lang="en-US" noProof="0" smtClean="0"/>
          </a:p>
        </p:txBody>
      </p:sp>
    </p:spTree>
    <p:extLst>
      <p:ext uri="{BB962C8B-B14F-4D97-AF65-F5344CB8AC3E}">
        <p14:creationId xmlns:p14="http://schemas.microsoft.com/office/powerpoint/2010/main" val="3297318630"/>
      </p:ext>
    </p:extLst>
  </p:cSld>
  <p:clrMapOvr>
    <a:masterClrMapping/>
  </p:clrMapOvr>
  <p:transition>
    <p:fade thruBlk="1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FF88C5-6543-44DB-AADD-11983D9A7DA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7988510"/>
      </p:ext>
    </p:extLst>
  </p:cSld>
  <p:clrMapOvr>
    <a:masterClrMapping/>
  </p:clrMapOvr>
  <p:transition>
    <p:fade thruBlk="1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4938486"/>
      </p:ext>
    </p:extLst>
  </p:cSld>
  <p:clrMapOvr>
    <a:masterClrMapping/>
  </p:clrMapOvr>
  <p:transition>
    <p:fade thruBlk="1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6396422"/>
      </p:ext>
    </p:extLst>
  </p:cSld>
  <p:clrMapOvr>
    <a:masterClrMapping/>
  </p:clrMapOvr>
  <p:transition>
    <p:fade thruBlk="1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6971081"/>
      </p:ext>
    </p:extLst>
  </p:cSld>
  <p:clrMapOvr>
    <a:masterClrMapping/>
  </p:clrMapOvr>
  <p:transition>
    <p:fade thruBlk="1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0875" y="981075"/>
            <a:ext cx="3941763" cy="51450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45038" y="981075"/>
            <a:ext cx="3941762" cy="51450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5999669"/>
      </p:ext>
    </p:extLst>
  </p:cSld>
  <p:clrMapOvr>
    <a:masterClrMapping/>
  </p:clrMapOvr>
  <p:transition>
    <p:fade thruBlk="1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67986"/>
      </p:ext>
    </p:extLst>
  </p:cSld>
  <p:clrMapOvr>
    <a:masterClrMapping/>
  </p:clrMapOvr>
  <p:transition>
    <p:fade thruBlk="1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7841667"/>
      </p:ext>
    </p:extLst>
  </p:cSld>
  <p:clrMapOvr>
    <a:masterClrMapping/>
  </p:clrMapOvr>
  <p:transition>
    <p:fade thruBlk="1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5434109"/>
      </p:ext>
    </p:extLst>
  </p:cSld>
  <p:clrMapOvr>
    <a:masterClrMapping/>
  </p:clrMapOvr>
  <p:transition>
    <p:fade thruBlk="1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8523030"/>
      </p:ext>
    </p:extLst>
  </p:cSld>
  <p:clrMapOvr>
    <a:masterClrMapping/>
  </p:clrMapOvr>
  <p:transition>
    <p:fade thruBlk="1"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892868"/>
      </p:ext>
    </p:extLst>
  </p:cSld>
  <p:clrMapOvr>
    <a:masterClrMapping/>
  </p:clrMapOvr>
  <p:transition>
    <p:fade thruBlk="1"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9377374"/>
      </p:ext>
    </p:extLst>
  </p:cSld>
  <p:clrMapOvr>
    <a:masterClrMapping/>
  </p:clrMapOvr>
  <p:transition>
    <p:fade thruBlk="1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c id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CCFDE6-02BE-4ED1-AF1E-B87BE13D79D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12437"/>
      </p:ext>
    </p:extLst>
  </p:cSld>
  <p:clrMapOvr>
    <a:masterClrMapping/>
  </p:clrMapOvr>
  <p:transition>
    <p:fade thruBlk="1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78600" y="274638"/>
            <a:ext cx="21082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2413" y="274638"/>
            <a:ext cx="6173787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451759"/>
      </p:ext>
    </p:extLst>
  </p:cSld>
  <p:clrMapOvr>
    <a:masterClrMapping/>
  </p:clrMapOvr>
  <p:transition>
    <p:fade thruBlk="1"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413" y="274638"/>
            <a:ext cx="8434387" cy="5619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650875" y="981075"/>
            <a:ext cx="8035925" cy="5145088"/>
          </a:xfrm>
        </p:spPr>
        <p:txBody>
          <a:bodyPr/>
          <a:lstStyle/>
          <a:p>
            <a:pPr lvl="0"/>
            <a:endParaRPr lang="en-US" noProof="0" smtClean="0"/>
          </a:p>
        </p:txBody>
      </p:sp>
    </p:spTree>
    <p:extLst>
      <p:ext uri="{BB962C8B-B14F-4D97-AF65-F5344CB8AC3E}">
        <p14:creationId xmlns:p14="http://schemas.microsoft.com/office/powerpoint/2010/main" val="301406725"/>
      </p:ext>
    </p:extLst>
  </p:cSld>
  <p:clrMapOvr>
    <a:masterClrMapping/>
  </p:clrMapOvr>
  <p:transition>
    <p:fade thruBlk="1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273738"/>
            <a:ext cx="3008044" cy="116135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988" y="273738"/>
            <a:ext cx="5112217" cy="5852138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795" y="1435094"/>
            <a:ext cx="3008044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C7A076-2470-4D0F-9A47-41A65DACD6E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6729218"/>
      </p:ext>
    </p:extLst>
  </p:cSld>
  <p:clrMapOvr>
    <a:masterClrMapping/>
  </p:clrMapOvr>
  <p:transition>
    <p:fade thruBlk="1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1544" y="4800924"/>
            <a:ext cx="5486400" cy="56691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1544" y="612264"/>
            <a:ext cx="54864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66481" indent="0">
              <a:buNone/>
              <a:defRPr sz="2900"/>
            </a:lvl2pPr>
            <a:lvl3pPr marL="932962" indent="0">
              <a:buNone/>
              <a:defRPr sz="2400"/>
            </a:lvl3pPr>
            <a:lvl4pPr marL="1399443" indent="0">
              <a:buNone/>
              <a:defRPr sz="2000"/>
            </a:lvl4pPr>
            <a:lvl5pPr marL="1865925" indent="0">
              <a:buNone/>
              <a:defRPr sz="2000"/>
            </a:lvl5pPr>
            <a:lvl6pPr marL="2332406" indent="0">
              <a:buNone/>
              <a:defRPr sz="2000"/>
            </a:lvl6pPr>
            <a:lvl7pPr marL="2798887" indent="0">
              <a:buNone/>
              <a:defRPr sz="2000"/>
            </a:lvl7pPr>
            <a:lvl8pPr marL="3265368" indent="0">
              <a:buNone/>
              <a:defRPr sz="2000"/>
            </a:lvl8pPr>
            <a:lvl9pPr marL="3731849" indent="0">
              <a:buNone/>
              <a:defRPr sz="2000"/>
            </a:lvl9pPr>
          </a:lstStyle>
          <a:p>
            <a:pPr lvl="0"/>
            <a:endParaRPr lang="id-ID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805014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CD8B52-B56E-4BCE-9A4B-F6BE217D15C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8911752"/>
      </p:ext>
    </p:extLst>
  </p:cSld>
  <p:clrMapOvr>
    <a:masterClrMapping/>
  </p:clrMapOvr>
  <p:transition>
    <p:fade thruBlk="1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image" Target="../media/image6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image" Target="../media/image10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image" Target="../media/image1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72238"/>
            <a:ext cx="7319963" cy="388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744538"/>
            <a:ext cx="8229600" cy="560387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140" tIns="45571" rIns="91140" bIns="4557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731963"/>
            <a:ext cx="8229600" cy="454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140" tIns="45571" rIns="91140" bIns="4557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55301" name="doc id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791200" y="457200"/>
            <a:ext cx="2895600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40" tIns="45571" rIns="91140" bIns="45571" numCol="1" anchor="ctr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5304" name="pg num"/>
          <p:cNvSpPr>
            <a:spLocks noGrp="1" noChangeArrowheads="1"/>
          </p:cNvSpPr>
          <p:nvPr>
            <p:ph type="sldNum" sz="quarter" idx="4"/>
            <p:custDataLst>
              <p:tags r:id="rId14"/>
            </p:custDataLst>
          </p:nvPr>
        </p:nvSpPr>
        <p:spPr bwMode="auto">
          <a:xfrm>
            <a:off x="7159625" y="6565900"/>
            <a:ext cx="19050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2FDA92A-B9B2-45C9-A1F9-877D7B159BD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31" name="Picture 12" descr="image00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8725" y="0"/>
            <a:ext cx="1438275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03" r:id="rId2"/>
    <p:sldLayoutId id="2147483904" r:id="rId3"/>
    <p:sldLayoutId id="2147483905" r:id="rId4"/>
    <p:sldLayoutId id="2147483906" r:id="rId5"/>
    <p:sldLayoutId id="2147483907" r:id="rId6"/>
    <p:sldLayoutId id="2147483908" r:id="rId7"/>
    <p:sldLayoutId id="2147483909" r:id="rId8"/>
    <p:sldLayoutId id="2147483910" r:id="rId9"/>
    <p:sldLayoutId id="2147483911" r:id="rId10"/>
    <p:sldLayoutId id="2147483912" r:id="rId11"/>
    <p:sldLayoutId id="2147483913" r:id="rId12"/>
  </p:sldLayoutIdLst>
  <p:transition>
    <p:fade thruBlk="1"/>
  </p:transition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FD000D"/>
          </a:solidFill>
          <a:effectLst>
            <a:outerShdw blurRad="38100" dist="38100" dir="2700000" algn="tl">
              <a:srgbClr val="C0C0C0"/>
            </a:outerShdw>
          </a:effectLst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FD000D"/>
          </a:solidFill>
          <a:effectLst>
            <a:outerShdw blurRad="38100" dist="38100" dir="2700000" algn="tl">
              <a:srgbClr val="C0C0C0"/>
            </a:outerShdw>
          </a:effectLst>
          <a:latin typeface="Futura Lt BT" pitchFamily="34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FD000D"/>
          </a:solidFill>
          <a:effectLst>
            <a:outerShdw blurRad="38100" dist="38100" dir="2700000" algn="tl">
              <a:srgbClr val="C0C0C0"/>
            </a:outerShdw>
          </a:effectLst>
          <a:latin typeface="Futura Lt BT" pitchFamily="34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FD000D"/>
          </a:solidFill>
          <a:effectLst>
            <a:outerShdw blurRad="38100" dist="38100" dir="2700000" algn="tl">
              <a:srgbClr val="C0C0C0"/>
            </a:outerShdw>
          </a:effectLst>
          <a:latin typeface="Futura Lt BT" pitchFamily="34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FD000D"/>
          </a:solidFill>
          <a:effectLst>
            <a:outerShdw blurRad="38100" dist="38100" dir="2700000" algn="tl">
              <a:srgbClr val="C0C0C0"/>
            </a:outerShdw>
          </a:effectLst>
          <a:latin typeface="Futura Lt BT" pitchFamily="34" charset="0"/>
        </a:defRPr>
      </a:lvl5pPr>
      <a:lvl6pPr marL="466481" algn="l" defTabSz="913526" rtl="0" fontAlgn="base">
        <a:spcBef>
          <a:spcPct val="0"/>
        </a:spcBef>
        <a:spcAft>
          <a:spcPct val="0"/>
        </a:spcAft>
        <a:defRPr sz="3000" b="1">
          <a:solidFill>
            <a:srgbClr val="FD000D"/>
          </a:solidFill>
          <a:latin typeface="Futura Lt BT" pitchFamily="34" charset="0"/>
        </a:defRPr>
      </a:lvl6pPr>
      <a:lvl7pPr marL="932962" algn="l" defTabSz="913526" rtl="0" fontAlgn="base">
        <a:spcBef>
          <a:spcPct val="0"/>
        </a:spcBef>
        <a:spcAft>
          <a:spcPct val="0"/>
        </a:spcAft>
        <a:defRPr sz="3000" b="1">
          <a:solidFill>
            <a:srgbClr val="FD000D"/>
          </a:solidFill>
          <a:latin typeface="Futura Lt BT" pitchFamily="34" charset="0"/>
        </a:defRPr>
      </a:lvl7pPr>
      <a:lvl8pPr marL="1399443" algn="l" defTabSz="913526" rtl="0" fontAlgn="base">
        <a:spcBef>
          <a:spcPct val="0"/>
        </a:spcBef>
        <a:spcAft>
          <a:spcPct val="0"/>
        </a:spcAft>
        <a:defRPr sz="3000" b="1">
          <a:solidFill>
            <a:srgbClr val="FD000D"/>
          </a:solidFill>
          <a:latin typeface="Futura Lt BT" pitchFamily="34" charset="0"/>
        </a:defRPr>
      </a:lvl8pPr>
      <a:lvl9pPr marL="1865925" algn="l" defTabSz="913526" rtl="0" fontAlgn="base">
        <a:spcBef>
          <a:spcPct val="0"/>
        </a:spcBef>
        <a:spcAft>
          <a:spcPct val="0"/>
        </a:spcAft>
        <a:defRPr sz="3000" b="1">
          <a:solidFill>
            <a:srgbClr val="FD000D"/>
          </a:solidFill>
          <a:latin typeface="Futura Lt BT" pitchFamily="34" charset="0"/>
        </a:defRPr>
      </a:lvl9pPr>
    </p:titleStyle>
    <p:bodyStyle>
      <a:lvl1pPr marL="342900" indent="-342900" algn="l" defTabSz="912813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2813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2pPr>
      <a:lvl3pPr marL="1143000" indent="-228600" algn="l" defTabSz="912813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00200" indent="-227013" algn="l" defTabSz="912813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5813" indent="-227013" algn="l" defTabSz="912813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23533" indent="-228382" algn="l" defTabSz="913526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90015" indent="-228382" algn="l" defTabSz="913526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56496" indent="-228382" algn="l" defTabSz="913526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22977" indent="-228382" algn="l" defTabSz="913526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d-ID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736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234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23100" y="6515100"/>
            <a:ext cx="2133600" cy="2603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F1C116E8-90DB-4D4D-BCF8-D53B75C2C3E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2053" name="Picture 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72238"/>
            <a:ext cx="7319963" cy="388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2350" y="6472238"/>
            <a:ext cx="1349375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  <p:sldLayoutId id="2147483922" r:id="rId9"/>
    <p:sldLayoutId id="2147483923" r:id="rId10"/>
    <p:sldLayoutId id="2147483924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FF0000"/>
          </a:solidFill>
          <a:effectLst>
            <a:outerShdw blurRad="38100" dist="38100" dir="2700000" algn="tl">
              <a:srgbClr val="C0C0C0"/>
            </a:outerShdw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FF0000"/>
          </a:solidFill>
          <a:effectLst>
            <a:outerShdw blurRad="38100" dist="38100" dir="2700000" algn="tl">
              <a:srgbClr val="C0C0C0"/>
            </a:outerShdw>
          </a:effectLst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FF0000"/>
          </a:solidFill>
          <a:effectLst>
            <a:outerShdw blurRad="38100" dist="38100" dir="2700000" algn="tl">
              <a:srgbClr val="C0C0C0"/>
            </a:outerShdw>
          </a:effectLst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FF0000"/>
          </a:solidFill>
          <a:effectLst>
            <a:outerShdw blurRad="38100" dist="38100" dir="2700000" algn="tl">
              <a:srgbClr val="C0C0C0"/>
            </a:outerShdw>
          </a:effectLst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FF0000"/>
          </a:solidFill>
          <a:effectLst>
            <a:outerShdw blurRad="38100" dist="38100" dir="2700000" algn="tl">
              <a:srgbClr val="C0C0C0"/>
            </a:outerShdw>
          </a:effectLst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FF0000"/>
          </a:solidFill>
          <a:effectLst>
            <a:outerShdw blurRad="38100" dist="38100" dir="2700000" algn="tl">
              <a:srgbClr val="C0C0C0"/>
            </a:outerShdw>
          </a:effectLst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FF0000"/>
          </a:solidFill>
          <a:effectLst>
            <a:outerShdw blurRad="38100" dist="38100" dir="2700000" algn="tl">
              <a:srgbClr val="C0C0C0"/>
            </a:outerShdw>
          </a:effectLst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FF0000"/>
          </a:solidFill>
          <a:effectLst>
            <a:outerShdw blurRad="38100" dist="38100" dir="2700000" algn="tl">
              <a:srgbClr val="C0C0C0"/>
            </a:outerShdw>
          </a:effectLst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FF0000"/>
          </a:solidFill>
          <a:effectLst>
            <a:outerShdw blurRad="38100" dist="38100" dir="2700000" algn="tl">
              <a:srgbClr val="C0C0C0"/>
            </a:outerShdw>
          </a:effectLst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bawah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13" t="16084"/>
          <a:stretch>
            <a:fillRect/>
          </a:stretch>
        </p:blipFill>
        <p:spPr bwMode="auto">
          <a:xfrm>
            <a:off x="0" y="6092825"/>
            <a:ext cx="7034213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905000"/>
            <a:ext cx="8229600" cy="4221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096962"/>
          </a:xfrm>
          <a:prstGeom prst="rect">
            <a:avLst/>
          </a:prstGeom>
          <a:solidFill>
            <a:srgbClr val="FF0000"/>
          </a:solidFill>
          <a:ln w="9525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Text Box 5"/>
          <p:cNvSpPr txBox="1">
            <a:spLocks noChangeArrowheads="1"/>
          </p:cNvSpPr>
          <p:nvPr userDrawn="1"/>
        </p:nvSpPr>
        <p:spPr bwMode="auto">
          <a:xfrm>
            <a:off x="5638800" y="6526213"/>
            <a:ext cx="94297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smtClean="0">
                <a:solidFill>
                  <a:srgbClr val="000000"/>
                </a:solidFill>
                <a:latin typeface="Futura Md BT" pitchFamily="34" charset="0"/>
              </a:rPr>
              <a:t>Page </a:t>
            </a:r>
            <a:fld id="{A2CF6AA6-FC04-4C2A-B82C-9973609F44CB}" type="slidenum">
              <a:rPr lang="en-US" sz="1400" smtClean="0">
                <a:solidFill>
                  <a:srgbClr val="000000"/>
                </a:solidFill>
                <a:latin typeface="Futura Md BT" pitchFamily="34" charset="0"/>
              </a:rPr>
              <a:pPr eaLnBrk="1" hangingPunct="1">
                <a:defRPr/>
              </a:pPr>
              <a:t>‹#›</a:t>
            </a:fld>
            <a:endParaRPr lang="en-US" sz="1400" smtClean="0">
              <a:solidFill>
                <a:srgbClr val="000000"/>
              </a:solidFill>
              <a:latin typeface="Futura Md BT" pitchFamily="34" charset="0"/>
            </a:endParaRPr>
          </a:p>
        </p:txBody>
      </p:sp>
      <p:pic>
        <p:nvPicPr>
          <p:cNvPr id="1030" name="Picture 6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10275"/>
            <a:ext cx="2200275" cy="847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06633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46" r:id="rId3"/>
    <p:sldLayoutId id="2147483947" r:id="rId4"/>
    <p:sldLayoutId id="2147483948" r:id="rId5"/>
    <p:sldLayoutId id="2147483949" r:id="rId6"/>
    <p:sldLayoutId id="2147483950" r:id="rId7"/>
    <p:sldLayoutId id="2147483951" r:id="rId8"/>
    <p:sldLayoutId id="2147483952" r:id="rId9"/>
    <p:sldLayoutId id="2147483953" r:id="rId10"/>
    <p:sldLayoutId id="2147483954" r:id="rId11"/>
    <p:sldLayoutId id="2147483955" r:id="rId12"/>
    <p:sldLayoutId id="2147483956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rgbClr val="FF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rgbClr val="FF0000"/>
          </a:solidFill>
          <a:latin typeface="Futura Md BT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rgbClr val="FF0000"/>
          </a:solidFill>
          <a:latin typeface="Futura Md BT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rgbClr val="FF0000"/>
          </a:solidFill>
          <a:latin typeface="Futura Md BT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rgbClr val="FF0000"/>
          </a:solidFill>
          <a:latin typeface="Futura Md BT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rgbClr val="FF0000"/>
          </a:solidFill>
          <a:latin typeface="Futura Md BT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rgbClr val="FF0000"/>
          </a:solidFill>
          <a:latin typeface="Futura Md BT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rgbClr val="FF0000"/>
          </a:solidFill>
          <a:latin typeface="Futura Md BT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rgbClr val="FF0000"/>
          </a:solidFill>
          <a:latin typeface="Futura Md BT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bawah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92825"/>
            <a:ext cx="7034213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905000"/>
            <a:ext cx="8229600" cy="4221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477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Text Box 5"/>
          <p:cNvSpPr txBox="1">
            <a:spLocks noChangeArrowheads="1"/>
          </p:cNvSpPr>
          <p:nvPr userDrawn="1"/>
        </p:nvSpPr>
        <p:spPr bwMode="auto">
          <a:xfrm>
            <a:off x="5638800" y="6526213"/>
            <a:ext cx="8636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Georgia" pitchFamily="18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="0" smtClean="0">
                <a:solidFill>
                  <a:srgbClr val="000000"/>
                </a:solidFill>
                <a:latin typeface="Futura Md BT" pitchFamily="34" charset="0"/>
              </a:rPr>
              <a:t>Page </a:t>
            </a:r>
            <a:fld id="{94042BDB-E232-413C-A042-88CFC58FD894}" type="slidenum">
              <a:rPr lang="en-US" sz="1400" b="0" smtClean="0">
                <a:solidFill>
                  <a:srgbClr val="000000"/>
                </a:solidFill>
                <a:latin typeface="Futura Md BT" pitchFamily="34" charset="0"/>
              </a:rPr>
              <a:pPr eaLnBrk="1" hangingPunct="1">
                <a:defRPr/>
              </a:pPr>
              <a:t>‹#›</a:t>
            </a:fld>
            <a:endParaRPr lang="en-US" sz="1400" b="0" smtClean="0">
              <a:solidFill>
                <a:srgbClr val="000000"/>
              </a:solidFill>
              <a:latin typeface="Futura Md BT" pitchFamily="34" charset="0"/>
            </a:endParaRPr>
          </a:p>
        </p:txBody>
      </p:sp>
      <p:pic>
        <p:nvPicPr>
          <p:cNvPr id="1030" name="Picture 8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5734050"/>
            <a:ext cx="2200275" cy="847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06765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4" r:id="rId1"/>
    <p:sldLayoutId id="2147484015" r:id="rId2"/>
    <p:sldLayoutId id="2147484016" r:id="rId3"/>
    <p:sldLayoutId id="2147484017" r:id="rId4"/>
    <p:sldLayoutId id="2147484018" r:id="rId5"/>
    <p:sldLayoutId id="2147484019" r:id="rId6"/>
    <p:sldLayoutId id="2147484020" r:id="rId7"/>
    <p:sldLayoutId id="2147484021" r:id="rId8"/>
    <p:sldLayoutId id="2147484022" r:id="rId9"/>
    <p:sldLayoutId id="2147484023" r:id="rId10"/>
    <p:sldLayoutId id="2147484024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rgbClr val="FF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rgbClr val="FF0000"/>
          </a:solidFill>
          <a:latin typeface="Futura Md BT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rgbClr val="FF0000"/>
          </a:solidFill>
          <a:latin typeface="Futura Md BT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rgbClr val="FF0000"/>
          </a:solidFill>
          <a:latin typeface="Futura Md BT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rgbClr val="FF0000"/>
          </a:solidFill>
          <a:latin typeface="Futura Md BT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rgbClr val="FF0000"/>
          </a:solidFill>
          <a:latin typeface="Futura Md BT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rgbClr val="FF0000"/>
          </a:solidFill>
          <a:latin typeface="Futura Md BT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rgbClr val="FF0000"/>
          </a:solidFill>
          <a:latin typeface="Futura Md BT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rgbClr val="FF0000"/>
          </a:solidFill>
          <a:latin typeface="Futura Md BT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bawah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77000"/>
            <a:ext cx="7034213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50875" y="981075"/>
            <a:ext cx="8035925" cy="514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u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252413" y="274638"/>
            <a:ext cx="8434387" cy="561975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7" name="Text Box 5"/>
          <p:cNvSpPr txBox="1">
            <a:spLocks noChangeArrowheads="1"/>
          </p:cNvSpPr>
          <p:nvPr/>
        </p:nvSpPr>
        <p:spPr bwMode="auto">
          <a:xfrm>
            <a:off x="276225" y="6524625"/>
            <a:ext cx="735013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n-US" sz="1200" smtClean="0">
                <a:solidFill>
                  <a:srgbClr val="FFFFFF"/>
                </a:solidFill>
                <a:latin typeface="Univers 45 Light" pitchFamily="2" charset="0"/>
              </a:rPr>
              <a:t>Page </a:t>
            </a:r>
            <a:fld id="{FCBB587E-27A3-42A5-B6B9-83D0AC921B51}" type="slidenum">
              <a:rPr lang="en-US" sz="1200" smtClean="0">
                <a:solidFill>
                  <a:srgbClr val="FFFFFF"/>
                </a:solidFill>
                <a:latin typeface="Univers 45 Light" pitchFamily="2" charset="0"/>
              </a:rPr>
              <a:pPr>
                <a:defRPr/>
              </a:pPr>
              <a:t>‹#›</a:t>
            </a:fld>
            <a:endParaRPr lang="en-US" sz="1200" smtClean="0">
              <a:solidFill>
                <a:srgbClr val="FFFFFF"/>
              </a:solidFill>
              <a:latin typeface="Univers 45 Light" pitchFamily="2" charset="0"/>
            </a:endParaRPr>
          </a:p>
        </p:txBody>
      </p:sp>
      <p:sp>
        <p:nvSpPr>
          <p:cNvPr id="7174" name="Rectangle 7"/>
          <p:cNvSpPr>
            <a:spLocks noChangeArrowheads="1"/>
          </p:cNvSpPr>
          <p:nvPr/>
        </p:nvSpPr>
        <p:spPr bwMode="auto">
          <a:xfrm>
            <a:off x="211138" y="6515100"/>
            <a:ext cx="1125537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endParaRPr lang="id-ID" sz="1400" b="1" smtClean="0">
              <a:solidFill>
                <a:srgbClr val="FFFFFF"/>
              </a:solidFill>
            </a:endParaRPr>
          </a:p>
        </p:txBody>
      </p:sp>
      <p:pic>
        <p:nvPicPr>
          <p:cNvPr id="7175" name="Picture 8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1400" y="6183313"/>
            <a:ext cx="1752600" cy="674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25928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4" r:id="rId1"/>
    <p:sldLayoutId id="2147484065" r:id="rId2"/>
    <p:sldLayoutId id="2147484066" r:id="rId3"/>
    <p:sldLayoutId id="2147484067" r:id="rId4"/>
    <p:sldLayoutId id="2147484068" r:id="rId5"/>
    <p:sldLayoutId id="2147484069" r:id="rId6"/>
    <p:sldLayoutId id="2147484070" r:id="rId7"/>
    <p:sldLayoutId id="2147484071" r:id="rId8"/>
    <p:sldLayoutId id="2147484072" r:id="rId9"/>
    <p:sldLayoutId id="2147484073" r:id="rId10"/>
    <p:sldLayoutId id="2147484074" r:id="rId11"/>
    <p:sldLayoutId id="2147484075" r:id="rId12"/>
  </p:sldLayoutIdLst>
  <p:transition>
    <p:fade thruBlk="1"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Futura Md BT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Futura Md BT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Futura Md BT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Futura Md BT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Futura Md BT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Futura Md BT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Futura Md BT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Futura Md BT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bawah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77000"/>
            <a:ext cx="7034213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50875" y="981075"/>
            <a:ext cx="8035925" cy="514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u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252413" y="274638"/>
            <a:ext cx="8434387" cy="561975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7" name="Text Box 5"/>
          <p:cNvSpPr txBox="1">
            <a:spLocks noChangeArrowheads="1"/>
          </p:cNvSpPr>
          <p:nvPr/>
        </p:nvSpPr>
        <p:spPr bwMode="auto">
          <a:xfrm>
            <a:off x="276225" y="6524625"/>
            <a:ext cx="735013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n-US" sz="1200" smtClean="0">
                <a:solidFill>
                  <a:srgbClr val="FFFFFF"/>
                </a:solidFill>
                <a:latin typeface="Univers 45 Light" pitchFamily="2" charset="0"/>
              </a:rPr>
              <a:t>Page </a:t>
            </a:r>
            <a:fld id="{6EA10ACC-74E3-4E50-A2C6-DC98AFC0B57D}" type="slidenum">
              <a:rPr lang="en-US" sz="1200" smtClean="0">
                <a:solidFill>
                  <a:srgbClr val="FFFFFF"/>
                </a:solidFill>
                <a:latin typeface="Univers 45 Light" pitchFamily="2" charset="0"/>
              </a:rPr>
              <a:pPr>
                <a:defRPr/>
              </a:pPr>
              <a:t>‹#›</a:t>
            </a:fld>
            <a:endParaRPr lang="en-US" sz="1200" smtClean="0">
              <a:solidFill>
                <a:srgbClr val="FFFFFF"/>
              </a:solidFill>
              <a:latin typeface="Univers 45 Light" pitchFamily="2" charset="0"/>
            </a:endParaRPr>
          </a:p>
        </p:txBody>
      </p:sp>
      <p:sp>
        <p:nvSpPr>
          <p:cNvPr id="2054" name="Rectangle 7"/>
          <p:cNvSpPr>
            <a:spLocks noChangeArrowheads="1"/>
          </p:cNvSpPr>
          <p:nvPr/>
        </p:nvSpPr>
        <p:spPr bwMode="auto">
          <a:xfrm>
            <a:off x="211138" y="6515100"/>
            <a:ext cx="1125537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endParaRPr lang="id-ID" sz="1400" b="1" smtClean="0">
              <a:solidFill>
                <a:srgbClr val="FFFFFF"/>
              </a:solidFill>
            </a:endParaRPr>
          </a:p>
        </p:txBody>
      </p:sp>
      <p:pic>
        <p:nvPicPr>
          <p:cNvPr id="2055" name="Picture 8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1400" y="6183313"/>
            <a:ext cx="1752600" cy="674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1010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0" r:id="rId1"/>
    <p:sldLayoutId id="2147484091" r:id="rId2"/>
    <p:sldLayoutId id="2147484092" r:id="rId3"/>
    <p:sldLayoutId id="2147484093" r:id="rId4"/>
    <p:sldLayoutId id="2147484094" r:id="rId5"/>
    <p:sldLayoutId id="2147484095" r:id="rId6"/>
    <p:sldLayoutId id="2147484096" r:id="rId7"/>
    <p:sldLayoutId id="2147484097" r:id="rId8"/>
    <p:sldLayoutId id="2147484098" r:id="rId9"/>
    <p:sldLayoutId id="2147484099" r:id="rId10"/>
    <p:sldLayoutId id="2147484100" r:id="rId11"/>
    <p:sldLayoutId id="2147484101" r:id="rId12"/>
  </p:sldLayoutIdLst>
  <p:transition>
    <p:fade thruBlk="1"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Futura Md BT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Futura Md BT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Futura Md BT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Futura Md BT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Futura Md BT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Futura Md BT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Futura Md BT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Futura Md BT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17500" y="5865813"/>
            <a:ext cx="3759200" cy="679450"/>
          </a:xfrm>
        </p:spPr>
        <p:txBody>
          <a:bodyPr/>
          <a:lstStyle/>
          <a:p>
            <a:pPr algn="l">
              <a:lnSpc>
                <a:spcPct val="90000"/>
              </a:lnSpc>
              <a:defRPr/>
            </a:pPr>
            <a:r>
              <a:rPr lang="en-US" sz="2000" b="1" dirty="0" smtClean="0">
                <a:latin typeface="+mj-lt"/>
              </a:rPr>
              <a:t>Nov 2</a:t>
            </a:r>
            <a:r>
              <a:rPr lang="en-US" sz="2000" b="1" baseline="30000" dirty="0" smtClean="0">
                <a:latin typeface="+mj-lt"/>
              </a:rPr>
              <a:t>nd</a:t>
            </a:r>
            <a:r>
              <a:rPr lang="en-US" sz="2000" b="1" dirty="0" smtClean="0">
                <a:latin typeface="+mj-lt"/>
              </a:rPr>
              <a:t>, </a:t>
            </a:r>
            <a:r>
              <a:rPr lang="en-US" sz="2000" b="1" dirty="0" smtClean="0">
                <a:latin typeface="+mj-lt"/>
              </a:rPr>
              <a:t>2014</a:t>
            </a:r>
            <a:endParaRPr lang="en-US" sz="2000" b="1" dirty="0"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3250" y="1803400"/>
            <a:ext cx="7772400" cy="2045269"/>
          </a:xfrm>
        </p:spPr>
        <p:txBody>
          <a:bodyPr/>
          <a:lstStyle/>
          <a:p>
            <a:pPr>
              <a:defRPr/>
            </a:pPr>
            <a:r>
              <a:rPr lang="en-US" sz="3600" b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Futura Lt BT" pitchFamily="34" charset="0"/>
              </a:rPr>
              <a:t>1</a:t>
            </a:r>
            <a:r>
              <a:rPr lang="en-US" sz="3600" b="0" baseline="30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Futura Lt BT" pitchFamily="34" charset="0"/>
              </a:rPr>
              <a:t>st</a:t>
            </a:r>
            <a:r>
              <a:rPr lang="en-US" sz="3600" b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Futura Lt BT" pitchFamily="34" charset="0"/>
              </a:rPr>
              <a:t> HSSE Meeting</a:t>
            </a:r>
            <a:r>
              <a:rPr lang="en-US" sz="4000" b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Futura Lt BT" pitchFamily="34" charset="0"/>
              </a:rPr>
              <a:t/>
            </a:r>
            <a:br>
              <a:rPr lang="en-US" sz="4000" b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Futura Lt BT" pitchFamily="34" charset="0"/>
              </a:rPr>
            </a:br>
            <a:r>
              <a:rPr lang="en-US" sz="3200" b="0" i="1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Futura Lt BT" pitchFamily="34" charset="0"/>
              </a:rPr>
              <a:t>PHE ONWJ – Temporary Storage Tanker</a:t>
            </a:r>
            <a:endParaRPr lang="en-US" sz="3200" b="0" i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Futura Lt BT" pitchFamily="34" charset="0"/>
            </a:endParaRPr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cop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latin typeface="+mj-lt"/>
              </a:rPr>
              <a:t>ERP (Emergency Response Plan)</a:t>
            </a:r>
          </a:p>
          <a:p>
            <a:r>
              <a:rPr lang="en-US" dirty="0" smtClean="0">
                <a:latin typeface="+mj-lt"/>
              </a:rPr>
              <a:t>ONWJ Personnel Requirements</a:t>
            </a:r>
          </a:p>
          <a:p>
            <a:r>
              <a:rPr lang="en-US" dirty="0" smtClean="0">
                <a:latin typeface="+mj-lt"/>
              </a:rPr>
              <a:t>HSSE Document List</a:t>
            </a:r>
            <a:endParaRPr lang="en-US" dirty="0">
              <a:latin typeface="+mj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7F980F-0A06-4FCB-B782-3914622C6E83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9364670"/>
      </p:ext>
    </p:extLst>
  </p:cSld>
  <p:clrMapOvr>
    <a:masterClrMapping/>
  </p:clrMapOvr>
  <p:transition>
    <p:fade thruBlk="1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cident Response Org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7F980F-0A06-4FCB-B782-3914622C6E83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pic>
        <p:nvPicPr>
          <p:cNvPr id="6696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912" y="1364776"/>
            <a:ext cx="2660125" cy="47863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6970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5331" y="528636"/>
            <a:ext cx="4067175" cy="5800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6" name="Straight Connector 5"/>
          <p:cNvCxnSpPr/>
          <p:nvPr/>
        </p:nvCxnSpPr>
        <p:spPr>
          <a:xfrm>
            <a:off x="2961564" y="6005015"/>
            <a:ext cx="1323767" cy="324346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 flipV="1">
            <a:off x="2961564" y="641445"/>
            <a:ext cx="2088108" cy="4192139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6585852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ersonnel Requirem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7F980F-0A06-4FCB-B782-3914622C6E83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pic>
        <p:nvPicPr>
          <p:cNvPr id="6727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45" y="1678674"/>
            <a:ext cx="7674761" cy="44584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3768019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SSE Document List</a:t>
            </a:r>
            <a:endParaRPr lang="en-US" dirty="0"/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31073210"/>
              </p:ext>
            </p:extLst>
          </p:nvPr>
        </p:nvGraphicFramePr>
        <p:xfrm>
          <a:off x="1224697" y="1624747"/>
          <a:ext cx="6121400" cy="39090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121400"/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u="none" strike="noStrike" dirty="0">
                          <a:effectLst/>
                        </a:rPr>
                        <a:t>PC-1065 Contractor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Project HSSE Plan</a:t>
                      </a:r>
                      <a:endParaRPr lang="en-US" sz="1200" b="0" i="0" u="none" strike="noStrike" dirty="0">
                        <a:solidFill>
                          <a:srgbClr val="0000FF"/>
                        </a:solidFill>
                        <a:effectLst/>
                        <a:latin typeface="Calibri"/>
                      </a:endParaRPr>
                    </a:p>
                  </a:txBody>
                  <a:tcPr marL="171450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Emergency Response Procedure</a:t>
                      </a:r>
                      <a:endParaRPr lang="en-US" sz="1200" b="0" i="0" u="none" strike="noStrike" dirty="0">
                        <a:solidFill>
                          <a:srgbClr val="0000FF"/>
                        </a:solidFill>
                        <a:effectLst/>
                        <a:latin typeface="Calibri"/>
                      </a:endParaRPr>
                    </a:p>
                  </a:txBody>
                  <a:tcPr marL="171450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MCU &amp; Fitness for Work Procedures</a:t>
                      </a:r>
                      <a:endParaRPr lang="en-US" sz="1200" b="0" i="0" u="none" strike="noStrike" dirty="0">
                        <a:solidFill>
                          <a:srgbClr val="0000FF"/>
                        </a:solidFill>
                        <a:effectLst/>
                        <a:latin typeface="Calibri"/>
                      </a:endParaRPr>
                    </a:p>
                  </a:txBody>
                  <a:tcPr marL="171450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HSSE Performance Procedure</a:t>
                      </a:r>
                      <a:endParaRPr lang="en-US" sz="1200" b="0" i="0" u="none" strike="noStrike">
                        <a:solidFill>
                          <a:srgbClr val="0000FF"/>
                        </a:solidFill>
                        <a:effectLst/>
                        <a:latin typeface="Calibri"/>
                      </a:endParaRPr>
                    </a:p>
                  </a:txBody>
                  <a:tcPr marL="171450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Oil Spill Contingency Procedure</a:t>
                      </a:r>
                      <a:endParaRPr lang="en-US" sz="1200" b="0" i="0" u="none" strike="noStrike" dirty="0">
                        <a:solidFill>
                          <a:srgbClr val="0000FF"/>
                        </a:solidFill>
                        <a:effectLst/>
                        <a:latin typeface="Calibri"/>
                      </a:endParaRPr>
                    </a:p>
                  </a:txBody>
                  <a:tcPr marL="171450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HSSE Training And Induction Procedure</a:t>
                      </a:r>
                      <a:endParaRPr lang="en-US" sz="1200" b="0" i="0" u="none" strike="noStrike">
                        <a:solidFill>
                          <a:srgbClr val="0000FF"/>
                        </a:solidFill>
                        <a:effectLst/>
                        <a:latin typeface="Calibri"/>
                      </a:endParaRPr>
                    </a:p>
                  </a:txBody>
                  <a:tcPr marL="171450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Bridging Control of Work (CoW) Execution Procedure</a:t>
                      </a:r>
                      <a:endParaRPr lang="en-US" sz="1200" b="0" i="0" u="none" strike="noStrike">
                        <a:solidFill>
                          <a:srgbClr val="0000FF"/>
                        </a:solidFill>
                        <a:effectLst/>
                        <a:latin typeface="Calibri"/>
                      </a:endParaRPr>
                    </a:p>
                  </a:txBody>
                  <a:tcPr marL="171450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Risk Assessment &amp; Hazard Identification Procedure</a:t>
                      </a:r>
                      <a:endParaRPr lang="en-US" sz="1200" b="0" i="0" u="none" strike="noStrike" dirty="0">
                        <a:solidFill>
                          <a:srgbClr val="0000FF"/>
                        </a:solidFill>
                        <a:effectLst/>
                        <a:latin typeface="Calibri"/>
                      </a:endParaRPr>
                    </a:p>
                  </a:txBody>
                  <a:tcPr marL="171450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General Lifting &amp; Rigging Operation Procedure</a:t>
                      </a:r>
                      <a:endParaRPr lang="en-US" sz="1200" b="0" i="0" u="none" strike="noStrike">
                        <a:solidFill>
                          <a:srgbClr val="0000FF"/>
                        </a:solidFill>
                        <a:effectLst/>
                        <a:latin typeface="Calibri"/>
                      </a:endParaRPr>
                    </a:p>
                  </a:txBody>
                  <a:tcPr marL="171450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Material Handling Procedure</a:t>
                      </a:r>
                      <a:endParaRPr lang="en-US" sz="1200" b="0" i="0" u="none" strike="noStrike" dirty="0">
                        <a:solidFill>
                          <a:srgbClr val="0000FF"/>
                        </a:solidFill>
                        <a:effectLst/>
                        <a:latin typeface="Calibri"/>
                      </a:endParaRPr>
                    </a:p>
                  </a:txBody>
                  <a:tcPr marL="171450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Accident, Incident Investigation and Reporting Procedure</a:t>
                      </a:r>
                      <a:endParaRPr lang="en-US" sz="1200" b="0" i="0" u="none" strike="noStrike">
                        <a:solidFill>
                          <a:srgbClr val="0000FF"/>
                        </a:solidFill>
                        <a:effectLst/>
                        <a:latin typeface="Calibri"/>
                      </a:endParaRPr>
                    </a:p>
                  </a:txBody>
                  <a:tcPr marL="171450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Personnel Transfer Procedure</a:t>
                      </a:r>
                      <a:endParaRPr lang="en-US" sz="1200" b="0" i="0" u="none" strike="noStrike" dirty="0">
                        <a:solidFill>
                          <a:srgbClr val="0000FF"/>
                        </a:solidFill>
                        <a:effectLst/>
                        <a:latin typeface="Calibri"/>
                      </a:endParaRPr>
                    </a:p>
                  </a:txBody>
                  <a:tcPr marL="171450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Simultaneous Operations (SIMOPS) Procedure</a:t>
                      </a:r>
                      <a:endParaRPr lang="en-US" sz="1200" b="0" i="0" u="none" strike="noStrike" dirty="0">
                        <a:solidFill>
                          <a:srgbClr val="0000FF"/>
                        </a:solidFill>
                        <a:effectLst/>
                        <a:latin typeface="Calibri"/>
                      </a:endParaRPr>
                    </a:p>
                  </a:txBody>
                  <a:tcPr marL="171450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Confined Space Entry Procedure</a:t>
                      </a:r>
                      <a:endParaRPr lang="en-US" sz="1200" b="0" i="0" u="none" strike="noStrike" dirty="0">
                        <a:solidFill>
                          <a:srgbClr val="0000FF"/>
                        </a:solidFill>
                        <a:effectLst/>
                        <a:latin typeface="Calibri"/>
                      </a:endParaRPr>
                    </a:p>
                  </a:txBody>
                  <a:tcPr marL="171450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Personal Protective Equipment (PPE) Procedure</a:t>
                      </a:r>
                      <a:endParaRPr lang="en-US" sz="1200" b="0" i="0" u="none" strike="noStrike" dirty="0">
                        <a:solidFill>
                          <a:srgbClr val="0000FF"/>
                        </a:solidFill>
                        <a:effectLst/>
                        <a:latin typeface="Calibri"/>
                      </a:endParaRPr>
                    </a:p>
                  </a:txBody>
                  <a:tcPr marL="171450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Sea Transportation Procedure</a:t>
                      </a:r>
                      <a:endParaRPr lang="en-US" sz="1200" b="0" i="0" u="none" strike="noStrike" dirty="0">
                        <a:solidFill>
                          <a:srgbClr val="0000FF"/>
                        </a:solidFill>
                        <a:effectLst/>
                        <a:latin typeface="Calibri"/>
                      </a:endParaRPr>
                    </a:p>
                  </a:txBody>
                  <a:tcPr marL="171450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Industrial Hygiene Procedure</a:t>
                      </a:r>
                      <a:endParaRPr lang="en-US" sz="1200" b="0" i="0" u="none" strike="noStrike" dirty="0">
                        <a:solidFill>
                          <a:srgbClr val="0000FF"/>
                        </a:solidFill>
                        <a:effectLst/>
                        <a:latin typeface="Calibri"/>
                      </a:endParaRPr>
                    </a:p>
                  </a:txBody>
                  <a:tcPr marL="171450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Working at Height Procedure</a:t>
                      </a:r>
                      <a:endParaRPr lang="en-US" sz="1200" b="0" i="0" u="none" strike="noStrike" dirty="0">
                        <a:solidFill>
                          <a:srgbClr val="0000FF"/>
                        </a:solidFill>
                        <a:effectLst/>
                        <a:latin typeface="Calibri"/>
                      </a:endParaRPr>
                    </a:p>
                  </a:txBody>
                  <a:tcPr marL="171450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Project Risk Register</a:t>
                      </a:r>
                      <a:endParaRPr lang="en-US" sz="1200" b="0" i="0" u="none" strike="noStrike" dirty="0">
                        <a:solidFill>
                          <a:srgbClr val="0000FF"/>
                        </a:solidFill>
                        <a:effectLst/>
                        <a:latin typeface="Calibri"/>
                      </a:endParaRPr>
                    </a:p>
                  </a:txBody>
                  <a:tcPr marL="171450" marR="9525" marT="9525" marB="0" anchor="b"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7F980F-0A06-4FCB-B782-3914622C6E83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7925896"/>
      </p:ext>
    </p:extLst>
  </p:cSld>
  <p:clrMapOvr>
    <a:masterClrMapping/>
  </p:clrMapOvr>
  <p:transition>
    <p:fade thruBlk="1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7F980F-0A06-4FCB-B782-3914622C6E83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1266" y="603344"/>
            <a:ext cx="4200667" cy="3853076"/>
          </a:xfrm>
          <a:prstGeom prst="rect">
            <a:avLst/>
          </a:prstGeom>
        </p:spPr>
      </p:pic>
      <p:sp>
        <p:nvSpPr>
          <p:cNvPr id="6" name="Title 3"/>
          <p:cNvSpPr txBox="1">
            <a:spLocks/>
          </p:cNvSpPr>
          <p:nvPr/>
        </p:nvSpPr>
        <p:spPr bwMode="auto">
          <a:xfrm>
            <a:off x="2896883" y="3756871"/>
            <a:ext cx="3763224" cy="5831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9803" tIns="44899" rIns="89803" bIns="44899" anchor="ctr">
            <a:spAutoFit/>
          </a:bodyPr>
          <a:lstStyle>
            <a:defPPr>
              <a:defRPr lang="en-US"/>
            </a:defPPr>
            <a:lvl1pPr marL="0" algn="l" defTabSz="91072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5361" algn="l" defTabSz="91072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0720" algn="l" defTabSz="91072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66075" algn="l" defTabSz="91072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1436" algn="l" defTabSz="91072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76805" algn="l" defTabSz="91072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32155" algn="l" defTabSz="91072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87518" algn="l" defTabSz="91072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42869" algn="l" defTabSz="91072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02978">
              <a:defRPr/>
            </a:pPr>
            <a:r>
              <a:rPr lang="en-US" sz="3200" kern="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omic Sans MS" pitchFamily="66" charset="0"/>
              </a:rPr>
              <a:t>TERIMA KASIH</a:t>
            </a:r>
          </a:p>
        </p:txBody>
      </p:sp>
    </p:spTree>
    <p:extLst>
      <p:ext uri="{BB962C8B-B14F-4D97-AF65-F5344CB8AC3E}">
        <p14:creationId xmlns:p14="http://schemas.microsoft.com/office/powerpoint/2010/main" val="1369876976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itial Notific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7F980F-0A06-4FCB-B782-3914622C6E83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086" y="2148953"/>
            <a:ext cx="7934185" cy="3173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84741723"/>
      </p:ext>
    </p:extLst>
  </p:cSld>
  <p:clrMapOvr>
    <a:masterClrMapping/>
  </p:clrMapOvr>
  <p:transition>
    <p:fade thruBlk="1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mergency Incident Criteri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7F980F-0A06-4FCB-B782-3914622C6E83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  <p:pic>
        <p:nvPicPr>
          <p:cNvPr id="6707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207" y="2359232"/>
            <a:ext cx="8008765" cy="3468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52231928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32Pagb4UKSQOKAPnY6P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32Pagb4UKSQOKAPnY6P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32Pagb4UKSQOKAPnY6P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32Pagb4UKSQOKAPnY6P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32Pagb4UKSQOKAPnY6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cIHG.EHtUu42QQN70N2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32Pagb4UKSQOKAPnY6P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32Pagb4UKSQOKAPnY6P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32Pagb4UKSQOKAPnY6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32Pagb4UKSQOKAPnY6P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32Pagb4UKSQOKAPnY6P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32Pagb4UKSQOKAPnY6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32Pagb4UKSQOKAPnY6Pg"/>
</p:tagLst>
</file>

<file path=ppt/theme/theme1.xml><?xml version="1.0" encoding="utf-8"?>
<a:theme xmlns:a="http://schemas.openxmlformats.org/drawingml/2006/main" name="template ONWJ">
  <a:themeElements>
    <a:clrScheme name="1_Template Presentation With New Logo 4">
      <a:dk1>
        <a:srgbClr val="000000"/>
      </a:dk1>
      <a:lt1>
        <a:srgbClr val="DEF6F1"/>
      </a:lt1>
      <a:dk2>
        <a:srgbClr val="000000"/>
      </a:dk2>
      <a:lt2>
        <a:srgbClr val="969696"/>
      </a:lt2>
      <a:accent1>
        <a:srgbClr val="FFFFFF"/>
      </a:accent1>
      <a:accent2>
        <a:srgbClr val="8DC6FF"/>
      </a:accent2>
      <a:accent3>
        <a:srgbClr val="ECFAF7"/>
      </a:accent3>
      <a:accent4>
        <a:srgbClr val="000000"/>
      </a:accent4>
      <a:accent5>
        <a:srgbClr val="FFFFFF"/>
      </a:accent5>
      <a:accent6>
        <a:srgbClr val="7FB3E7"/>
      </a:accent6>
      <a:hlink>
        <a:srgbClr val="0066CC"/>
      </a:hlink>
      <a:folHlink>
        <a:srgbClr val="00A800"/>
      </a:folHlink>
    </a:clrScheme>
    <a:fontScheme name="1_Template Presentation With New Logo">
      <a:majorFont>
        <a:latin typeface="Futura Lt BT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Template Presentation With New Log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Template Presentation With New Log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Template Presentation With New Log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Template Presentation With New Log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Template Presentation With New Log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Template Presentation With New Log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Template Presentation With New Log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Template Presentation With New Log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Template Presentation With New Log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Template Presentation With New Log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Template Presentation With New Log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Template Presentation With New Log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Futura Md BT"/>
        <a:ea typeface=""/>
        <a:cs typeface="Arial"/>
      </a:majorFont>
      <a:minorFont>
        <a:latin typeface="Futura Md BT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Futura Md BT"/>
        <a:ea typeface=""/>
        <a:cs typeface="Arial"/>
      </a:majorFont>
      <a:minorFont>
        <a:latin typeface="Futura Md BT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Georgia" pitchFamily="18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Georgia" pitchFamily="18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Futura Md BT"/>
        <a:ea typeface=""/>
        <a:cs typeface=""/>
      </a:majorFont>
      <a:minorFont>
        <a:latin typeface="Univers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>
          <a:prstShdw prst="shdw17" dist="17961" dir="2700000">
            <a:schemeClr val="accent1">
              <a:gamma/>
              <a:shade val="60000"/>
              <a:invGamma/>
            </a:schemeClr>
          </a:prstShdw>
        </a:effectLst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utura Bk BT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>
          <a:prstShdw prst="shdw17" dist="17961" dir="2700000">
            <a:schemeClr val="accent1">
              <a:gamma/>
              <a:shade val="60000"/>
              <a:invGamma/>
            </a:schemeClr>
          </a:prstShdw>
        </a:effectLst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utura Bk BT" pitchFamily="34" charset="0"/>
            <a:cs typeface="Arial" pitchFamily="34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Futura Md BT"/>
        <a:ea typeface=""/>
        <a:cs typeface=""/>
      </a:majorFont>
      <a:minorFont>
        <a:latin typeface="Univers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>
          <a:prstShdw prst="shdw17" dist="17961" dir="2700000">
            <a:schemeClr val="accent1">
              <a:gamma/>
              <a:shade val="60000"/>
              <a:invGamma/>
            </a:schemeClr>
          </a:prstShdw>
        </a:effectLst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utura Bk BT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>
          <a:prstShdw prst="shdw17" dist="17961" dir="2700000">
            <a:schemeClr val="accent1">
              <a:gamma/>
              <a:shade val="60000"/>
              <a:invGamma/>
            </a:schemeClr>
          </a:prstShdw>
        </a:effectLst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utura Bk BT" pitchFamily="34" charset="0"/>
            <a:cs typeface="Arial" pitchFamily="34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 ONWJ</Template>
  <TotalTime>65247</TotalTime>
  <Words>133</Words>
  <Application>Microsoft Office PowerPoint</Application>
  <PresentationFormat>On-screen Show (4:3)</PresentationFormat>
  <Paragraphs>39</Paragraphs>
  <Slides>8</Slides>
  <Notes>0</Notes>
  <HiddenSlides>2</HiddenSlides>
  <MMClips>0</MMClips>
  <ScaleCrop>false</ScaleCrop>
  <HeadingPairs>
    <vt:vector size="4" baseType="variant">
      <vt:variant>
        <vt:lpstr>Theme</vt:lpstr>
      </vt:variant>
      <vt:variant>
        <vt:i4>6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template ONWJ</vt:lpstr>
      <vt:lpstr>Custom Design</vt:lpstr>
      <vt:lpstr>Default Design</vt:lpstr>
      <vt:lpstr>1_Default Design</vt:lpstr>
      <vt:lpstr>2_Default Design</vt:lpstr>
      <vt:lpstr>3_Default Design</vt:lpstr>
      <vt:lpstr>1st HSSE Meeting PHE ONWJ – Temporary Storage Tanker</vt:lpstr>
      <vt:lpstr>Scope</vt:lpstr>
      <vt:lpstr>Incident Response Org.</vt:lpstr>
      <vt:lpstr>Personnel Requirements</vt:lpstr>
      <vt:lpstr>HSSE Document List</vt:lpstr>
      <vt:lpstr>PowerPoint Presentation</vt:lpstr>
      <vt:lpstr>Initial Notification</vt:lpstr>
      <vt:lpstr>Emergency Incident Criteria</vt:lpstr>
    </vt:vector>
  </TitlesOfParts>
  <Company>B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Title</dc:title>
  <dc:creator>Mohamad Abdurrafiq</dc:creator>
  <cp:lastModifiedBy>Bangkit Satya Budi</cp:lastModifiedBy>
  <cp:revision>951</cp:revision>
  <cp:lastPrinted>2014-09-29T09:54:40Z</cp:lastPrinted>
  <dcterms:created xsi:type="dcterms:W3CDTF">2009-07-23T06:38:17Z</dcterms:created>
  <dcterms:modified xsi:type="dcterms:W3CDTF">2014-11-03T03:57:55Z</dcterms:modified>
</cp:coreProperties>
</file>